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6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9" r:id="rId1"/>
    <p:sldMasterId id="2147483660" r:id="rId2"/>
    <p:sldMasterId id="2147483662" r:id="rId3"/>
    <p:sldMasterId id="2147483664" r:id="rId4"/>
    <p:sldMasterId id="2147483666" r:id="rId5"/>
    <p:sldMasterId id="2147483668" r:id="rId6"/>
  </p:sldMasterIdLst>
  <p:notesMasterIdLst>
    <p:notesMasterId r:id="rId13"/>
  </p:notesMasterIdLst>
  <p:sldIdLst>
    <p:sldId id="257" r:id="rId7"/>
    <p:sldId id="256" r:id="rId8"/>
    <p:sldId id="805" r:id="rId9"/>
    <p:sldId id="804" r:id="rId10"/>
    <p:sldId id="806" r:id="rId11"/>
    <p:sldId id="807" r:id="rId12"/>
  </p:sldIdLst>
  <p:sldSz cx="9144000" cy="5143500" type="screen16x9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38" d="100"/>
          <a:sy n="138" d="100"/>
        </p:scale>
        <p:origin x="300" y="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hape 57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Shape 5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2C06E8-48A6-4E03-8711-C45C0018F49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188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66039F-B480-4862-BA08-5CFE87518D6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4211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66039F-B480-4862-BA08-5CFE87518D6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73114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66039F-B480-4862-BA08-5CFE87518D6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73114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buNone/>
              <a:defRPr/>
            </a:lvl1pPr>
            <a:lvl2pPr lvl="1">
              <a:spcBef>
                <a:spcPts val="0"/>
              </a:spcBef>
              <a:buNone/>
              <a:defRPr/>
            </a:lvl2pPr>
            <a:lvl3pPr lvl="2">
              <a:spcBef>
                <a:spcPts val="0"/>
              </a:spcBef>
              <a:buNone/>
              <a:defRPr/>
            </a:lvl3pPr>
            <a:lvl4pPr lvl="3">
              <a:spcBef>
                <a:spcPts val="0"/>
              </a:spcBef>
              <a:buNone/>
              <a:defRPr/>
            </a:lvl4pPr>
            <a:lvl5pPr lvl="4">
              <a:spcBef>
                <a:spcPts val="0"/>
              </a:spcBef>
              <a:buNone/>
              <a:defRPr/>
            </a:lvl5pPr>
            <a:lvl6pPr lvl="5">
              <a:spcBef>
                <a:spcPts val="0"/>
              </a:spcBef>
              <a:buNone/>
              <a:defRPr/>
            </a:lvl6pPr>
            <a:lvl7pPr lvl="6">
              <a:spcBef>
                <a:spcPts val="0"/>
              </a:spcBef>
              <a:buNone/>
              <a:defRPr/>
            </a:lvl7pPr>
            <a:lvl8pPr lvl="7">
              <a:spcBef>
                <a:spcPts val="0"/>
              </a:spcBef>
              <a:buNone/>
              <a:defRPr/>
            </a:lvl8pPr>
            <a:lvl9pPr lvl="8">
              <a:spcBef>
                <a:spcPts val="0"/>
              </a:spcBef>
              <a:buNone/>
              <a:defRPr/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870366" y="756397"/>
            <a:ext cx="5403272" cy="605118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2177" b="1" i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he report’s main titl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870365" y="1462368"/>
            <a:ext cx="5403272" cy="605118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177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360">
                <a:solidFill>
                  <a:schemeClr val="bg1"/>
                </a:solidFill>
                <a:latin typeface="+mj-lt"/>
              </a:defRPr>
            </a:lvl2pPr>
            <a:lvl3pPr marL="346461" indent="0" algn="l">
              <a:buNone/>
              <a:defRPr sz="1360">
                <a:solidFill>
                  <a:schemeClr val="bg1"/>
                </a:solidFill>
                <a:latin typeface="+mj-lt"/>
              </a:defRPr>
            </a:lvl3pPr>
            <a:lvl4pPr marL="692923" indent="0" algn="l">
              <a:buNone/>
              <a:defRPr sz="1360">
                <a:solidFill>
                  <a:schemeClr val="bg1"/>
                </a:solidFill>
                <a:latin typeface="+mj-lt"/>
              </a:defRPr>
            </a:lvl4pPr>
            <a:lvl5pPr marL="1039385" indent="0" algn="l">
              <a:buNone/>
              <a:defRPr sz="1360">
                <a:solidFill>
                  <a:schemeClr val="bg1"/>
                </a:solidFill>
                <a:latin typeface="+mj-lt"/>
              </a:defRPr>
            </a:lvl5pPr>
            <a:lvl6pPr marL="1385847" indent="0" algn="l">
              <a:buNone/>
              <a:defRPr sz="1360">
                <a:solidFill>
                  <a:schemeClr val="bg1"/>
                </a:solidFill>
                <a:latin typeface="+mj-lt"/>
              </a:defRPr>
            </a:lvl6pPr>
            <a:lvl7pPr marL="1732309" indent="0" algn="l">
              <a:buNone/>
              <a:defRPr sz="1360">
                <a:solidFill>
                  <a:schemeClr val="bg1"/>
                </a:solidFill>
                <a:latin typeface="+mj-lt"/>
              </a:defRPr>
            </a:lvl7pPr>
            <a:lvl8pPr marL="2078770" indent="0" algn="l">
              <a:buNone/>
              <a:defRPr sz="1360">
                <a:solidFill>
                  <a:schemeClr val="bg1"/>
                </a:solidFill>
                <a:latin typeface="+mj-lt"/>
              </a:defRPr>
            </a:lvl8pPr>
            <a:lvl9pPr marL="2425232" indent="0" algn="l">
              <a:buNone/>
              <a:defRPr sz="136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dirty="0"/>
              <a:t>Subtitle and date (move higher if title is only one line)</a:t>
            </a:r>
          </a:p>
        </p:txBody>
      </p:sp>
      <p:sp>
        <p:nvSpPr>
          <p:cNvPr id="21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870364" y="352986"/>
            <a:ext cx="4156363" cy="100853"/>
          </a:xfrm>
        </p:spPr>
        <p:txBody>
          <a:bodyPr/>
          <a:lstStyle>
            <a:lvl1pPr>
              <a:defRPr sz="816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748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748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748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748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noProof="0" dirty="0" err="1"/>
              <a:t>www.pwc.com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751161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ordslide with Quotes - 3 Pa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83577" y="870347"/>
            <a:ext cx="4088422" cy="166199"/>
          </a:xfrm>
        </p:spPr>
        <p:txBody>
          <a:bodyPr l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0"/>
          </p:nvPr>
        </p:nvSpPr>
        <p:spPr>
          <a:xfrm>
            <a:off x="483577" y="1145747"/>
            <a:ext cx="4080738" cy="422167"/>
          </a:xfrm>
        </p:spPr>
        <p:txBody>
          <a:bodyPr rIns="0"/>
          <a:lstStyle>
            <a:lvl1pPr marL="184643" indent="-184643">
              <a:defRPr/>
            </a:lvl1pPr>
            <a:lvl2pPr marL="436165" indent="-186928">
              <a:defRPr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5001231" y="873371"/>
            <a:ext cx="3652062" cy="124650"/>
          </a:xfrm>
        </p:spPr>
        <p:txBody>
          <a:bodyPr lIns="90000"/>
          <a:lstStyle>
            <a:lvl1pPr marL="184436" indent="-184436">
              <a:spcBef>
                <a:spcPts val="0"/>
              </a:spcBef>
              <a:buNone/>
              <a:defRPr sz="900" i="0"/>
            </a:lvl1pPr>
            <a:lvl2pPr marL="141780" indent="0">
              <a:buNone/>
              <a:defRPr sz="831" i="1"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“…Click to edit Master text styles…”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83577" y="2239468"/>
            <a:ext cx="4088422" cy="166199"/>
          </a:xfrm>
        </p:spPr>
        <p:txBody>
          <a:bodyPr l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15"/>
          </p:nvPr>
        </p:nvSpPr>
        <p:spPr>
          <a:xfrm>
            <a:off x="483577" y="2514868"/>
            <a:ext cx="4080738" cy="422167"/>
          </a:xfrm>
        </p:spPr>
        <p:txBody>
          <a:bodyPr rIns="0"/>
          <a:lstStyle>
            <a:lvl1pPr marL="184643" indent="-184643">
              <a:defRPr/>
            </a:lvl1pPr>
            <a:lvl2pPr marL="436165" indent="-186928">
              <a:defRPr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83578" y="3572811"/>
            <a:ext cx="4088423" cy="166199"/>
          </a:xfrm>
        </p:spPr>
        <p:txBody>
          <a:bodyPr l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Content Placeholder 5"/>
          <p:cNvSpPr>
            <a:spLocks noGrp="1"/>
          </p:cNvSpPr>
          <p:nvPr>
            <p:ph sz="quarter" idx="18"/>
          </p:nvPr>
        </p:nvSpPr>
        <p:spPr>
          <a:xfrm>
            <a:off x="483578" y="3848211"/>
            <a:ext cx="4088423" cy="422167"/>
          </a:xfrm>
        </p:spPr>
        <p:txBody>
          <a:bodyPr rIns="0"/>
          <a:lstStyle>
            <a:lvl1pPr marL="184643" indent="-184643">
              <a:defRPr/>
            </a:lvl1pPr>
            <a:lvl2pPr marL="436165" indent="-186928">
              <a:defRPr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Content Placeholder 5"/>
          <p:cNvSpPr>
            <a:spLocks noGrp="1"/>
          </p:cNvSpPr>
          <p:nvPr>
            <p:ph sz="quarter" idx="19" hasCustomPrompt="1"/>
          </p:nvPr>
        </p:nvSpPr>
        <p:spPr>
          <a:xfrm>
            <a:off x="5001231" y="2239468"/>
            <a:ext cx="3652062" cy="124650"/>
          </a:xfrm>
        </p:spPr>
        <p:txBody>
          <a:bodyPr lIns="90000"/>
          <a:lstStyle>
            <a:lvl1pPr marL="184436" indent="-184436">
              <a:spcBef>
                <a:spcPts val="0"/>
              </a:spcBef>
              <a:buNone/>
              <a:defRPr sz="900" i="0"/>
            </a:lvl1pPr>
            <a:lvl2pPr marL="141780" indent="0">
              <a:buNone/>
              <a:defRPr sz="831" i="1"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“…Click to edit Master text styles…”</a:t>
            </a:r>
          </a:p>
        </p:txBody>
      </p:sp>
      <p:sp>
        <p:nvSpPr>
          <p:cNvPr id="21" name="Content Placeholder 5"/>
          <p:cNvSpPr>
            <a:spLocks noGrp="1"/>
          </p:cNvSpPr>
          <p:nvPr>
            <p:ph sz="quarter" idx="20" hasCustomPrompt="1"/>
          </p:nvPr>
        </p:nvSpPr>
        <p:spPr>
          <a:xfrm>
            <a:off x="5001231" y="3572811"/>
            <a:ext cx="3652062" cy="124650"/>
          </a:xfrm>
        </p:spPr>
        <p:txBody>
          <a:bodyPr lIns="90000"/>
          <a:lstStyle>
            <a:lvl1pPr marL="184436" indent="-184436">
              <a:spcBef>
                <a:spcPts val="0"/>
              </a:spcBef>
              <a:buNone/>
              <a:defRPr sz="900" i="0"/>
            </a:lvl1pPr>
            <a:lvl2pPr marL="141780" indent="0">
              <a:buNone/>
              <a:defRPr sz="831" i="1"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“…Click to edit Master text styles…”</a:t>
            </a:r>
          </a:p>
        </p:txBody>
      </p:sp>
    </p:spTree>
    <p:extLst>
      <p:ext uri="{BB962C8B-B14F-4D97-AF65-F5344CB8AC3E}">
        <p14:creationId xmlns:p14="http://schemas.microsoft.com/office/powerpoint/2010/main" val="41140502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ordslide with Quotes - 3 Pa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B05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83577" y="870347"/>
            <a:ext cx="4088422" cy="166199"/>
          </a:xfrm>
        </p:spPr>
        <p:txBody>
          <a:bodyPr l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0"/>
          </p:nvPr>
        </p:nvSpPr>
        <p:spPr>
          <a:xfrm>
            <a:off x="483577" y="1145747"/>
            <a:ext cx="4080738" cy="422167"/>
          </a:xfrm>
        </p:spPr>
        <p:txBody>
          <a:bodyPr rIns="0"/>
          <a:lstStyle>
            <a:lvl1pPr marL="184643" indent="-184643">
              <a:defRPr/>
            </a:lvl1pPr>
            <a:lvl2pPr marL="436165" indent="-186928">
              <a:defRPr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5001231" y="873371"/>
            <a:ext cx="3652062" cy="124650"/>
          </a:xfrm>
        </p:spPr>
        <p:txBody>
          <a:bodyPr lIns="90000"/>
          <a:lstStyle>
            <a:lvl1pPr marL="184436" indent="-184436">
              <a:spcBef>
                <a:spcPts val="0"/>
              </a:spcBef>
              <a:buNone/>
              <a:defRPr sz="900" i="0"/>
            </a:lvl1pPr>
            <a:lvl2pPr marL="141780" indent="0">
              <a:buNone/>
              <a:defRPr sz="831" i="1"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“…Click to edit Master text styles…”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83577" y="2239468"/>
            <a:ext cx="4088422" cy="166199"/>
          </a:xfrm>
        </p:spPr>
        <p:txBody>
          <a:bodyPr l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15"/>
          </p:nvPr>
        </p:nvSpPr>
        <p:spPr>
          <a:xfrm>
            <a:off x="483577" y="2514868"/>
            <a:ext cx="4080738" cy="422167"/>
          </a:xfrm>
        </p:spPr>
        <p:txBody>
          <a:bodyPr rIns="0"/>
          <a:lstStyle>
            <a:lvl1pPr marL="184643" indent="-184643">
              <a:defRPr/>
            </a:lvl1pPr>
            <a:lvl2pPr marL="436165" indent="-186928">
              <a:defRPr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83578" y="3572811"/>
            <a:ext cx="4088423" cy="166199"/>
          </a:xfrm>
        </p:spPr>
        <p:txBody>
          <a:bodyPr l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Content Placeholder 5"/>
          <p:cNvSpPr>
            <a:spLocks noGrp="1"/>
          </p:cNvSpPr>
          <p:nvPr>
            <p:ph sz="quarter" idx="18"/>
          </p:nvPr>
        </p:nvSpPr>
        <p:spPr>
          <a:xfrm>
            <a:off x="483578" y="3848211"/>
            <a:ext cx="4088423" cy="422167"/>
          </a:xfrm>
        </p:spPr>
        <p:txBody>
          <a:bodyPr rIns="0"/>
          <a:lstStyle>
            <a:lvl1pPr marL="184643" indent="-184643">
              <a:defRPr/>
            </a:lvl1pPr>
            <a:lvl2pPr marL="436165" indent="-186928">
              <a:defRPr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Content Placeholder 5"/>
          <p:cNvSpPr>
            <a:spLocks noGrp="1"/>
          </p:cNvSpPr>
          <p:nvPr>
            <p:ph sz="quarter" idx="19" hasCustomPrompt="1"/>
          </p:nvPr>
        </p:nvSpPr>
        <p:spPr>
          <a:xfrm>
            <a:off x="5001231" y="2239468"/>
            <a:ext cx="3652062" cy="124650"/>
          </a:xfrm>
        </p:spPr>
        <p:txBody>
          <a:bodyPr lIns="90000"/>
          <a:lstStyle>
            <a:lvl1pPr marL="184436" indent="-184436">
              <a:spcBef>
                <a:spcPts val="0"/>
              </a:spcBef>
              <a:buNone/>
              <a:defRPr sz="900" i="0"/>
            </a:lvl1pPr>
            <a:lvl2pPr marL="141780" indent="0">
              <a:buNone/>
              <a:defRPr sz="831" i="1"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“…Click to edit Master text styles…”</a:t>
            </a:r>
          </a:p>
        </p:txBody>
      </p:sp>
      <p:sp>
        <p:nvSpPr>
          <p:cNvPr id="21" name="Content Placeholder 5"/>
          <p:cNvSpPr>
            <a:spLocks noGrp="1"/>
          </p:cNvSpPr>
          <p:nvPr>
            <p:ph sz="quarter" idx="20" hasCustomPrompt="1"/>
          </p:nvPr>
        </p:nvSpPr>
        <p:spPr>
          <a:xfrm>
            <a:off x="5001231" y="3572811"/>
            <a:ext cx="3652062" cy="124650"/>
          </a:xfrm>
        </p:spPr>
        <p:txBody>
          <a:bodyPr lIns="90000"/>
          <a:lstStyle>
            <a:lvl1pPr marL="184436" indent="-184436">
              <a:spcBef>
                <a:spcPts val="0"/>
              </a:spcBef>
              <a:buNone/>
              <a:defRPr sz="900" i="0"/>
            </a:lvl1pPr>
            <a:lvl2pPr marL="141780" indent="0">
              <a:buNone/>
              <a:defRPr sz="831" i="1"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“…Click to edit Master text styles…”</a:t>
            </a:r>
          </a:p>
        </p:txBody>
      </p:sp>
    </p:spTree>
    <p:extLst>
      <p:ext uri="{BB962C8B-B14F-4D97-AF65-F5344CB8AC3E}">
        <p14:creationId xmlns:p14="http://schemas.microsoft.com/office/powerpoint/2010/main" val="34901431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ordslide with Quotes - 3 Pa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83577" y="870347"/>
            <a:ext cx="4088422" cy="166199"/>
          </a:xfrm>
        </p:spPr>
        <p:txBody>
          <a:bodyPr l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0"/>
          </p:nvPr>
        </p:nvSpPr>
        <p:spPr>
          <a:xfrm>
            <a:off x="483577" y="1145747"/>
            <a:ext cx="4080738" cy="422167"/>
          </a:xfrm>
        </p:spPr>
        <p:txBody>
          <a:bodyPr rIns="0"/>
          <a:lstStyle>
            <a:lvl1pPr marL="184643" indent="-184643">
              <a:defRPr/>
            </a:lvl1pPr>
            <a:lvl2pPr marL="436165" indent="-186928">
              <a:defRPr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5001231" y="873371"/>
            <a:ext cx="3652062" cy="124650"/>
          </a:xfrm>
        </p:spPr>
        <p:txBody>
          <a:bodyPr lIns="90000"/>
          <a:lstStyle>
            <a:lvl1pPr marL="184436" indent="-184436">
              <a:spcBef>
                <a:spcPts val="0"/>
              </a:spcBef>
              <a:buNone/>
              <a:defRPr sz="900" i="0"/>
            </a:lvl1pPr>
            <a:lvl2pPr marL="141780" indent="0">
              <a:buNone/>
              <a:defRPr sz="831" i="1"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“…Click to edit Master text styles…”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83577" y="2239468"/>
            <a:ext cx="4088422" cy="166199"/>
          </a:xfrm>
        </p:spPr>
        <p:txBody>
          <a:bodyPr l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15"/>
          </p:nvPr>
        </p:nvSpPr>
        <p:spPr>
          <a:xfrm>
            <a:off x="483577" y="2514868"/>
            <a:ext cx="4080738" cy="422167"/>
          </a:xfrm>
        </p:spPr>
        <p:txBody>
          <a:bodyPr rIns="0"/>
          <a:lstStyle>
            <a:lvl1pPr marL="184643" indent="-184643">
              <a:defRPr/>
            </a:lvl1pPr>
            <a:lvl2pPr marL="436165" indent="-186928">
              <a:defRPr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83578" y="3572811"/>
            <a:ext cx="4088423" cy="166199"/>
          </a:xfrm>
        </p:spPr>
        <p:txBody>
          <a:bodyPr l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Content Placeholder 5"/>
          <p:cNvSpPr>
            <a:spLocks noGrp="1"/>
          </p:cNvSpPr>
          <p:nvPr>
            <p:ph sz="quarter" idx="18"/>
          </p:nvPr>
        </p:nvSpPr>
        <p:spPr>
          <a:xfrm>
            <a:off x="483578" y="3848211"/>
            <a:ext cx="4088423" cy="422167"/>
          </a:xfrm>
        </p:spPr>
        <p:txBody>
          <a:bodyPr rIns="0"/>
          <a:lstStyle>
            <a:lvl1pPr marL="184643" indent="-184643">
              <a:defRPr/>
            </a:lvl1pPr>
            <a:lvl2pPr marL="436165" indent="-186928">
              <a:defRPr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Content Placeholder 5"/>
          <p:cNvSpPr>
            <a:spLocks noGrp="1"/>
          </p:cNvSpPr>
          <p:nvPr>
            <p:ph sz="quarter" idx="19" hasCustomPrompt="1"/>
          </p:nvPr>
        </p:nvSpPr>
        <p:spPr>
          <a:xfrm>
            <a:off x="5001231" y="2239468"/>
            <a:ext cx="3652062" cy="124650"/>
          </a:xfrm>
        </p:spPr>
        <p:txBody>
          <a:bodyPr lIns="90000"/>
          <a:lstStyle>
            <a:lvl1pPr marL="184436" indent="-184436">
              <a:spcBef>
                <a:spcPts val="0"/>
              </a:spcBef>
              <a:buNone/>
              <a:defRPr sz="900" i="0"/>
            </a:lvl1pPr>
            <a:lvl2pPr marL="141780" indent="0">
              <a:buNone/>
              <a:defRPr sz="831" i="1"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“…Click to edit Master text styles…”</a:t>
            </a:r>
          </a:p>
        </p:txBody>
      </p:sp>
      <p:sp>
        <p:nvSpPr>
          <p:cNvPr id="21" name="Content Placeholder 5"/>
          <p:cNvSpPr>
            <a:spLocks noGrp="1"/>
          </p:cNvSpPr>
          <p:nvPr>
            <p:ph sz="quarter" idx="20" hasCustomPrompt="1"/>
          </p:nvPr>
        </p:nvSpPr>
        <p:spPr>
          <a:xfrm>
            <a:off x="5001231" y="3572811"/>
            <a:ext cx="3652062" cy="124650"/>
          </a:xfrm>
        </p:spPr>
        <p:txBody>
          <a:bodyPr lIns="90000"/>
          <a:lstStyle>
            <a:lvl1pPr marL="184436" indent="-184436">
              <a:spcBef>
                <a:spcPts val="0"/>
              </a:spcBef>
              <a:buNone/>
              <a:defRPr sz="900" i="0"/>
            </a:lvl1pPr>
            <a:lvl2pPr marL="141780" indent="0">
              <a:buNone/>
              <a:defRPr sz="831" i="1"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“…Click to edit Master text styles…”</a:t>
            </a:r>
          </a:p>
        </p:txBody>
      </p:sp>
    </p:spTree>
    <p:extLst>
      <p:ext uri="{BB962C8B-B14F-4D97-AF65-F5344CB8AC3E}">
        <p14:creationId xmlns:p14="http://schemas.microsoft.com/office/powerpoint/2010/main" val="9389773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Титульный слайд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hape 7"/>
          <p:cNvSpPr>
            <a:spLocks noGrp="1"/>
          </p:cNvSpPr>
          <p:nvPr>
            <p:ph type="title"/>
          </p:nvPr>
        </p:nvSpPr>
        <p:spPr>
          <a:xfrm>
            <a:off x="1105839" y="3"/>
            <a:ext cx="6593349" cy="1305994"/>
          </a:xfrm>
          <a:prstGeom prst="rect">
            <a:avLst/>
          </a:prstGeom>
        </p:spPr>
        <p:txBody>
          <a:bodyPr anchor="b"/>
          <a:lstStyle>
            <a:lvl1pPr>
              <a:defRPr sz="2700">
                <a:solidFill>
                  <a:srgbClr val="FFFFFF"/>
                </a:solidFill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700" b="1" dirty="0">
                <a:solidFill>
                  <a:srgbClr val="FFFFFF"/>
                </a:solidFill>
              </a:rPr>
              <a:t>Title Text</a:t>
            </a:r>
          </a:p>
        </p:txBody>
      </p:sp>
      <p:sp>
        <p:nvSpPr>
          <p:cNvPr id="8" name="Shape 8"/>
          <p:cNvSpPr>
            <a:spLocks noGrp="1"/>
          </p:cNvSpPr>
          <p:nvPr>
            <p:ph type="body" idx="1"/>
          </p:nvPr>
        </p:nvSpPr>
        <p:spPr>
          <a:xfrm>
            <a:off x="1105839" y="1372283"/>
            <a:ext cx="6593349" cy="3338667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1350">
                <a:solidFill>
                  <a:srgbClr val="FFFFFF"/>
                </a:solidFill>
              </a:defRPr>
            </a:lvl1pPr>
            <a:lvl2pPr marL="0" indent="0">
              <a:buSzTx/>
              <a:buFontTx/>
              <a:buNone/>
              <a:defRPr sz="1350">
                <a:solidFill>
                  <a:srgbClr val="FFFFFF"/>
                </a:solidFill>
              </a:defRPr>
            </a:lvl2pPr>
            <a:lvl3pPr marL="0" indent="0">
              <a:buSzTx/>
              <a:buFontTx/>
              <a:buNone/>
              <a:defRPr sz="1350">
                <a:solidFill>
                  <a:srgbClr val="FFFFFF"/>
                </a:solidFill>
              </a:defRPr>
            </a:lvl3pPr>
            <a:lvl4pPr marL="0" indent="0">
              <a:buSzTx/>
              <a:buFontTx/>
              <a:buNone/>
              <a:defRPr sz="1350">
                <a:solidFill>
                  <a:srgbClr val="FFFFFF"/>
                </a:solidFill>
              </a:defRPr>
            </a:lvl4pPr>
            <a:lvl5pPr marL="0" indent="0">
              <a:buSzTx/>
              <a:buFontTx/>
              <a:buNone/>
              <a:defRPr sz="1350">
                <a:solidFill>
                  <a:srgbClr val="FFFFFF"/>
                </a:solidFill>
              </a:defRPr>
            </a:lvl5pPr>
          </a:lstStyle>
          <a:p>
            <a:pPr lvl="0">
              <a:defRPr>
                <a:solidFill>
                  <a:srgbClr val="000000"/>
                </a:solidFill>
              </a:defRPr>
            </a:pPr>
            <a:r>
              <a:rPr dirty="0">
                <a:solidFill>
                  <a:srgbClr val="FFFFFF"/>
                </a:solidFill>
              </a:rPr>
              <a:t>Body Level One</a:t>
            </a:r>
          </a:p>
          <a:p>
            <a:pPr lvl="1">
              <a:defRPr>
                <a:solidFill>
                  <a:srgbClr val="000000"/>
                </a:solidFill>
              </a:defRPr>
            </a:pPr>
            <a:r>
              <a:rPr dirty="0">
                <a:solidFill>
                  <a:srgbClr val="FFFFFF"/>
                </a:solidFill>
              </a:rPr>
              <a:t>Body Level Two</a:t>
            </a:r>
          </a:p>
          <a:p>
            <a:pPr lvl="2">
              <a:defRPr>
                <a:solidFill>
                  <a:srgbClr val="000000"/>
                </a:solidFill>
              </a:defRPr>
            </a:pPr>
            <a:r>
              <a:rPr dirty="0">
                <a:solidFill>
                  <a:srgbClr val="FFFFFF"/>
                </a:solidFill>
              </a:rPr>
              <a:t>Body Level Three</a:t>
            </a:r>
          </a:p>
          <a:p>
            <a:pPr lvl="3">
              <a:defRPr>
                <a:solidFill>
                  <a:srgbClr val="000000"/>
                </a:solidFill>
              </a:defRPr>
            </a:pPr>
            <a:r>
              <a:rPr dirty="0">
                <a:solidFill>
                  <a:srgbClr val="FFFFFF"/>
                </a:solidFill>
              </a:rPr>
              <a:t>Body Level Four</a:t>
            </a:r>
          </a:p>
          <a:p>
            <a:pPr lvl="4">
              <a:defRPr>
                <a:solidFill>
                  <a:srgbClr val="000000"/>
                </a:solidFill>
              </a:defRPr>
            </a:pPr>
            <a:r>
              <a:rPr dirty="0">
                <a:solidFill>
                  <a:srgbClr val="FFFFFF"/>
                </a:solidFill>
              </a:rPr>
              <a:t>Body Level Five</a:t>
            </a:r>
          </a:p>
        </p:txBody>
      </p:sp>
      <p:sp>
        <p:nvSpPr>
          <p:cNvPr id="9" name="Shape 9"/>
          <p:cNvSpPr/>
          <p:nvPr/>
        </p:nvSpPr>
        <p:spPr>
          <a:xfrm>
            <a:off x="-12701" y="0"/>
            <a:ext cx="870156" cy="51435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/>
          <a:lstStyle>
            <a:lvl1pPr algn="ctr">
              <a:defRPr sz="13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lvl="0">
              <a:defRPr sz="1800"/>
            </a:pPr>
            <a:r>
              <a:rPr sz="975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12992216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tags" Target="../tags/tag6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spcBef>
                <a:spcPts val="0"/>
              </a:spcBef>
              <a:buNone/>
              <a:defRPr sz="1000">
                <a:solidFill>
                  <a:schemeClr val="dk2"/>
                </a:solidFill>
              </a:defRPr>
            </a:lvl1pPr>
            <a:lvl2pPr lvl="1" algn="r">
              <a:spcBef>
                <a:spcPts val="0"/>
              </a:spcBef>
              <a:buNone/>
              <a:defRPr sz="1000">
                <a:solidFill>
                  <a:schemeClr val="dk2"/>
                </a:solidFill>
              </a:defRPr>
            </a:lvl2pPr>
            <a:lvl3pPr lvl="2" algn="r">
              <a:spcBef>
                <a:spcPts val="0"/>
              </a:spcBef>
              <a:buNone/>
              <a:defRPr sz="1000">
                <a:solidFill>
                  <a:schemeClr val="dk2"/>
                </a:solidFill>
              </a:defRPr>
            </a:lvl3pPr>
            <a:lvl4pPr lvl="3" algn="r">
              <a:spcBef>
                <a:spcPts val="0"/>
              </a:spcBef>
              <a:buNone/>
              <a:defRPr sz="1000">
                <a:solidFill>
                  <a:schemeClr val="dk2"/>
                </a:solidFill>
              </a:defRPr>
            </a:lvl4pPr>
            <a:lvl5pPr lvl="4" algn="r">
              <a:spcBef>
                <a:spcPts val="0"/>
              </a:spcBef>
              <a:buNone/>
              <a:defRPr sz="1000">
                <a:solidFill>
                  <a:schemeClr val="dk2"/>
                </a:solidFill>
              </a:defRPr>
            </a:lvl5pPr>
            <a:lvl6pPr lvl="5" algn="r">
              <a:spcBef>
                <a:spcPts val="0"/>
              </a:spcBef>
              <a:buNone/>
              <a:defRPr sz="1000">
                <a:solidFill>
                  <a:schemeClr val="dk2"/>
                </a:solidFill>
              </a:defRPr>
            </a:lvl6pPr>
            <a:lvl7pPr lvl="6" algn="r">
              <a:spcBef>
                <a:spcPts val="0"/>
              </a:spcBef>
              <a:buNone/>
              <a:defRPr sz="1000">
                <a:solidFill>
                  <a:schemeClr val="dk2"/>
                </a:solidFill>
              </a:defRPr>
            </a:lvl7pPr>
            <a:lvl8pPr lvl="7" algn="r">
              <a:spcBef>
                <a:spcPts val="0"/>
              </a:spcBef>
              <a:buNone/>
              <a:defRPr sz="1000">
                <a:solidFill>
                  <a:schemeClr val="dk2"/>
                </a:solidFill>
              </a:defRPr>
            </a:lvl8pPr>
            <a:lvl9pPr lvl="8" algn="r">
              <a:spcBef>
                <a:spcPts val="0"/>
              </a:spcBef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0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4910" y="756397"/>
            <a:ext cx="8174182" cy="6051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Click to edit</a:t>
            </a:r>
            <a:br>
              <a:rPr lang="en-GB" noProof="0" dirty="0"/>
            </a:br>
            <a:r>
              <a:rPr lang="en-GB" noProof="0" dirty="0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4909" y="1462369"/>
            <a:ext cx="8174182" cy="29247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29280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hf hdr="0"/>
  <p:txStyles>
    <p:titleStyle>
      <a:lvl1pPr algn="l" defTabSz="692923" rtl="0" eaLnBrk="1" latinLnBrk="0" hangingPunct="1">
        <a:lnSpc>
          <a:spcPct val="100000"/>
        </a:lnSpc>
        <a:spcBef>
          <a:spcPct val="0"/>
        </a:spcBef>
        <a:buNone/>
        <a:defRPr sz="136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-155476" algn="l" defTabSz="692923" rtl="0" eaLnBrk="1" fontAlgn="auto" latinLnBrk="0" hangingPunct="1">
        <a:lnSpc>
          <a:spcPct val="100000"/>
        </a:lnSpc>
        <a:spcBef>
          <a:spcPts val="0"/>
        </a:spcBef>
        <a:spcAft>
          <a:spcPts val="407"/>
        </a:spcAft>
        <a:buClr>
          <a:schemeClr val="tx1"/>
        </a:buClr>
        <a:buSzTx/>
        <a:buFontTx/>
        <a:buNone/>
        <a:tabLst/>
        <a:defRPr sz="748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155476" indent="-155476" algn="l" defTabSz="692923" rtl="0" eaLnBrk="1" latinLnBrk="0" hangingPunct="1">
        <a:lnSpc>
          <a:spcPct val="100000"/>
        </a:lnSpc>
        <a:spcBef>
          <a:spcPts val="0"/>
        </a:spcBef>
        <a:spcAft>
          <a:spcPts val="407"/>
        </a:spcAft>
        <a:buClr>
          <a:schemeClr val="tx1"/>
        </a:buClr>
        <a:buFont typeface="Georgia" pitchFamily="18" charset="0"/>
        <a:buChar char="•"/>
        <a:defRPr sz="748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310951" indent="-155476" algn="l" defTabSz="692923" rtl="0" eaLnBrk="1" latinLnBrk="0" hangingPunct="1">
        <a:lnSpc>
          <a:spcPct val="100000"/>
        </a:lnSpc>
        <a:spcBef>
          <a:spcPts val="0"/>
        </a:spcBef>
        <a:spcAft>
          <a:spcPts val="407"/>
        </a:spcAft>
        <a:buClr>
          <a:schemeClr val="tx1"/>
        </a:buClr>
        <a:buFont typeface="Georgia" pitchFamily="18" charset="0"/>
        <a:buChar char="-"/>
        <a:defRPr sz="748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466427" indent="-155476" algn="l" defTabSz="692923" rtl="0" eaLnBrk="1" latinLnBrk="0" hangingPunct="1">
        <a:lnSpc>
          <a:spcPct val="100000"/>
        </a:lnSpc>
        <a:spcBef>
          <a:spcPts val="0"/>
        </a:spcBef>
        <a:spcAft>
          <a:spcPts val="407"/>
        </a:spcAft>
        <a:buClr>
          <a:schemeClr val="tx1"/>
        </a:buClr>
        <a:buFont typeface="Georgia" pitchFamily="18" charset="0"/>
        <a:buChar char="◦"/>
        <a:defRPr sz="748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621903" indent="-155476" algn="l" defTabSz="692923" rtl="0" eaLnBrk="1" latinLnBrk="0" hangingPunct="1">
        <a:lnSpc>
          <a:spcPct val="100000"/>
        </a:lnSpc>
        <a:spcBef>
          <a:spcPts val="0"/>
        </a:spcBef>
        <a:spcAft>
          <a:spcPts val="407"/>
        </a:spcAft>
        <a:buClr>
          <a:schemeClr val="tx1"/>
        </a:buClr>
        <a:buFont typeface="Georgia" pitchFamily="18" charset="0"/>
        <a:buChar char="›"/>
        <a:defRPr sz="748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155476" marR="0" indent="-155476" algn="l" defTabSz="692923" rtl="0" eaLnBrk="1" fontAlgn="auto" latinLnBrk="0" hangingPunct="1">
        <a:lnSpc>
          <a:spcPct val="100000"/>
        </a:lnSpc>
        <a:spcBef>
          <a:spcPts val="0"/>
        </a:spcBef>
        <a:spcAft>
          <a:spcPts val="407"/>
        </a:spcAft>
        <a:buClr>
          <a:schemeClr val="tx1"/>
        </a:buClr>
        <a:buSzPct val="100000"/>
        <a:buFont typeface="+mj-lt"/>
        <a:buAutoNum type="arabicPeriod"/>
        <a:tabLst/>
        <a:defRPr sz="748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310951" indent="-155476" algn="l" defTabSz="692923" rtl="0" eaLnBrk="1" latinLnBrk="0" hangingPunct="1">
        <a:lnSpc>
          <a:spcPct val="100000"/>
        </a:lnSpc>
        <a:spcBef>
          <a:spcPts val="0"/>
        </a:spcBef>
        <a:spcAft>
          <a:spcPts val="407"/>
        </a:spcAft>
        <a:buSzPct val="100000"/>
        <a:buFont typeface="+mj-lt"/>
        <a:buAutoNum type="alphaLcPeriod"/>
        <a:defRPr sz="748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466427" indent="-155476" algn="l" defTabSz="692923" rtl="0" eaLnBrk="1" latinLnBrk="0" hangingPunct="1">
        <a:lnSpc>
          <a:spcPct val="100000"/>
        </a:lnSpc>
        <a:spcBef>
          <a:spcPts val="0"/>
        </a:spcBef>
        <a:spcAft>
          <a:spcPts val="407"/>
        </a:spcAft>
        <a:buSzPct val="100000"/>
        <a:buFont typeface="+mj-lt"/>
        <a:buAutoNum type="romanLcPeriod"/>
        <a:defRPr sz="748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155476" algn="l" defTabSz="692923" rtl="0" eaLnBrk="1" latinLnBrk="0" hangingPunct="1">
        <a:lnSpc>
          <a:spcPct val="100000"/>
        </a:lnSpc>
        <a:spcBef>
          <a:spcPts val="0"/>
        </a:spcBef>
        <a:spcAft>
          <a:spcPts val="407"/>
        </a:spcAft>
        <a:buFont typeface="Arial" pitchFamily="34" charset="0"/>
        <a:buNone/>
        <a:defRPr sz="748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692923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1pPr>
      <a:lvl2pPr marL="346461" algn="l" defTabSz="692923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2pPr>
      <a:lvl3pPr marL="692923" algn="l" defTabSz="692923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3pPr>
      <a:lvl4pPr marL="1039385" algn="l" defTabSz="692923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4pPr>
      <a:lvl5pPr marL="1385847" algn="l" defTabSz="692923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5pPr>
      <a:lvl6pPr marL="1732309" algn="l" defTabSz="692923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6pPr>
      <a:lvl7pPr marL="2078770" algn="l" defTabSz="692923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7pPr>
      <a:lvl8pPr marL="2425232" algn="l" defTabSz="692923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8pPr>
      <a:lvl9pPr marL="2771693" algn="l" defTabSz="692923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776D4B2-4D7D-45DA-904C-9BD34D8969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81466588"/>
              </p:ext>
            </p:extLst>
          </p:nvPr>
        </p:nvGraphicFramePr>
        <p:xfrm>
          <a:off x="1588" y="1191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776D4B2-4D7D-45DA-904C-9BD34D8969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191"/>
                        <a:ext cx="1588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30C38C2-E269-4B31-ADCA-8BB5CD243D41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19063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 dirty="0" err="1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44507" y="603504"/>
            <a:ext cx="8641080" cy="253746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Title</a:t>
            </a:r>
          </a:p>
        </p:txBody>
      </p:sp>
      <p:sp>
        <p:nvSpPr>
          <p:cNvPr id="3" name="Text Placeholder 1"/>
          <p:cNvSpPr>
            <a:spLocks noGrp="1"/>
          </p:cNvSpPr>
          <p:nvPr>
            <p:ph type="body" idx="1"/>
          </p:nvPr>
        </p:nvSpPr>
        <p:spPr>
          <a:xfrm>
            <a:off x="244507" y="1543050"/>
            <a:ext cx="8641080" cy="102335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020969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</p:sldLayoutIdLst>
  <p:hf sldNum="0" hdr="0" ftr="0" dt="0"/>
  <p:txStyles>
    <p:titleStyle>
      <a:lvl1pPr marL="0" indent="0"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 baseline="0">
          <a:solidFill>
            <a:srgbClr val="00B050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1050"/>
        </a:spcBef>
        <a:buClr>
          <a:srgbClr val="FF6C45"/>
        </a:buClr>
        <a:buSzPct val="100000"/>
        <a:buFontTx/>
        <a:buNone/>
        <a:defRPr sz="1200" kern="1200">
          <a:solidFill>
            <a:srgbClr val="00B050"/>
          </a:solidFill>
          <a:latin typeface="Arial" pitchFamily="34" charset="0"/>
          <a:ea typeface="+mn-ea"/>
          <a:cs typeface="Arial" pitchFamily="34" charset="0"/>
        </a:defRPr>
      </a:lvl1pPr>
      <a:lvl2pPr marL="137160" indent="0" algn="l" defTabSz="685800" rtl="0" eaLnBrk="1" latinLnBrk="0" hangingPunct="1">
        <a:lnSpc>
          <a:spcPct val="90000"/>
        </a:lnSpc>
        <a:spcBef>
          <a:spcPts val="675"/>
        </a:spcBef>
        <a:buClr>
          <a:srgbClr val="FF6C45"/>
        </a:buClr>
        <a:buFontTx/>
        <a:buNone/>
        <a:defRPr sz="1200" kern="1200">
          <a:solidFill>
            <a:srgbClr val="00B050"/>
          </a:solidFill>
          <a:latin typeface="Arial" pitchFamily="34" charset="0"/>
          <a:ea typeface="+mn-ea"/>
          <a:cs typeface="Arial" pitchFamily="34" charset="0"/>
        </a:defRPr>
      </a:lvl2pPr>
      <a:lvl3pPr marL="232200" indent="0" algn="l" defTabSz="685800" rtl="0" eaLnBrk="1" latinLnBrk="0" hangingPunct="1">
        <a:lnSpc>
          <a:spcPct val="90000"/>
        </a:lnSpc>
        <a:spcBef>
          <a:spcPts val="450"/>
        </a:spcBef>
        <a:buClr>
          <a:srgbClr val="FF6C45"/>
        </a:buClr>
        <a:buFontTx/>
        <a:buNone/>
        <a:defRPr sz="1200" kern="1200">
          <a:solidFill>
            <a:srgbClr val="00B050"/>
          </a:solidFill>
          <a:latin typeface="Arial" pitchFamily="34" charset="0"/>
          <a:ea typeface="+mn-ea"/>
          <a:cs typeface="Arial" pitchFamily="34" charset="0"/>
        </a:defRPr>
      </a:lvl3pPr>
      <a:lvl4pPr marL="372330" indent="0" algn="l" defTabSz="685800" rtl="0" eaLnBrk="1" latinLnBrk="0" hangingPunct="1">
        <a:lnSpc>
          <a:spcPct val="90000"/>
        </a:lnSpc>
        <a:spcBef>
          <a:spcPts val="150"/>
        </a:spcBef>
        <a:buClr>
          <a:srgbClr val="FF6C45"/>
        </a:buClr>
        <a:buFontTx/>
        <a:buNone/>
        <a:defRPr sz="1200" kern="1200">
          <a:solidFill>
            <a:srgbClr val="00B050"/>
          </a:solidFill>
          <a:latin typeface="Arial" pitchFamily="34" charset="0"/>
          <a:ea typeface="+mn-ea"/>
          <a:cs typeface="Arial" pitchFamily="34" charset="0"/>
        </a:defRPr>
      </a:lvl4pPr>
      <a:lvl5pPr marL="475200" indent="0" algn="l" defTabSz="685800" rtl="0" eaLnBrk="1" latinLnBrk="0" hangingPunct="1">
        <a:lnSpc>
          <a:spcPct val="90000"/>
        </a:lnSpc>
        <a:spcBef>
          <a:spcPts val="75"/>
        </a:spcBef>
        <a:buClr>
          <a:srgbClr val="FF6C45"/>
        </a:buClr>
        <a:buFontTx/>
        <a:buNone/>
        <a:defRPr sz="1200" kern="1200">
          <a:solidFill>
            <a:srgbClr val="00B050"/>
          </a:solidFill>
          <a:latin typeface="Arial" pitchFamily="34" charset="0"/>
          <a:ea typeface="+mn-ea"/>
          <a:cs typeface="Arial" pitchFamily="34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6">
          <p15:clr>
            <a:srgbClr val="FF9696"/>
          </p15:clr>
        </p15:guide>
        <p15:guide id="2" orient="horz" pos="1298">
          <p15:clr>
            <a:srgbClr val="FF9696"/>
          </p15:clr>
        </p15:guide>
        <p15:guide id="3" orient="horz" pos="1548">
          <p15:clr>
            <a:srgbClr val="FF9696"/>
          </p15:clr>
        </p15:guide>
        <p15:guide id="4" orient="horz" pos="3566">
          <p15:clr>
            <a:srgbClr val="FF9696"/>
          </p15:clr>
        </p15:guide>
        <p15:guide id="5" orient="horz" pos="3997">
          <p15:clr>
            <a:srgbClr val="FF9696"/>
          </p15:clr>
        </p15:guide>
        <p15:guide id="6" orient="horz" pos="4247">
          <p15:clr>
            <a:srgbClr val="FF9696"/>
          </p15:clr>
        </p15:guide>
        <p15:guide id="7" pos="158">
          <p15:clr>
            <a:srgbClr val="FF9696"/>
          </p15:clr>
        </p15:guide>
        <p15:guide id="8" pos="2652">
          <p15:clr>
            <a:srgbClr val="FF9696"/>
          </p15:clr>
        </p15:guide>
        <p15:guide id="9" pos="2881">
          <p15:clr>
            <a:srgbClr val="FF9696"/>
          </p15:clr>
        </p15:guide>
        <p15:guide id="10" pos="3107">
          <p15:clr>
            <a:srgbClr val="FF9696"/>
          </p15:clr>
        </p15:guide>
        <p15:guide id="11" pos="5602">
          <p15:clr>
            <a:srgbClr val="FF9696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776D4B2-4D7D-45DA-904C-9BD34D8969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30174682"/>
              </p:ext>
            </p:extLst>
          </p:nvPr>
        </p:nvGraphicFramePr>
        <p:xfrm>
          <a:off x="1588" y="1191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776D4B2-4D7D-45DA-904C-9BD34D8969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191"/>
                        <a:ext cx="1588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30C38C2-E269-4B31-ADCA-8BB5CD243D41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19063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 dirty="0" err="1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44507" y="603504"/>
            <a:ext cx="8641080" cy="253746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Headline of maximum two lines here</a:t>
            </a:r>
          </a:p>
        </p:txBody>
      </p:sp>
      <p:sp>
        <p:nvSpPr>
          <p:cNvPr id="3" name="Text Placeholder 1"/>
          <p:cNvSpPr>
            <a:spLocks noGrp="1"/>
          </p:cNvSpPr>
          <p:nvPr>
            <p:ph type="body" idx="1"/>
          </p:nvPr>
        </p:nvSpPr>
        <p:spPr>
          <a:xfrm>
            <a:off x="244507" y="1543050"/>
            <a:ext cx="8641080" cy="102335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4913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</p:sldLayoutIdLst>
  <p:hf sldNum="0" hdr="0" ftr="0" dt="0"/>
  <p:txStyles>
    <p:titleStyle>
      <a:lvl1pPr marL="0" indent="0"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 baseline="0">
          <a:solidFill>
            <a:srgbClr val="00B050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35000" indent="-135000" algn="l" defTabSz="685800" rtl="0" eaLnBrk="1" latinLnBrk="0" hangingPunct="1">
        <a:lnSpc>
          <a:spcPct val="90000"/>
        </a:lnSpc>
        <a:spcBef>
          <a:spcPts val="1050"/>
        </a:spcBef>
        <a:buClr>
          <a:srgbClr val="FF6C45"/>
        </a:buClr>
        <a:buSzPct val="100000"/>
        <a:buFont typeface="Arial" pitchFamily="34" charset="0"/>
        <a:buChar char="■"/>
        <a:defRPr sz="1200" kern="1200">
          <a:solidFill>
            <a:srgbClr val="00B050"/>
          </a:solidFill>
          <a:latin typeface="Arial" pitchFamily="34" charset="0"/>
          <a:ea typeface="+mn-ea"/>
          <a:cs typeface="Arial" pitchFamily="34" charset="0"/>
        </a:defRPr>
      </a:lvl1pPr>
      <a:lvl2pPr marL="233172" indent="-96012" algn="l" defTabSz="685800" rtl="0" eaLnBrk="1" latinLnBrk="0" hangingPunct="1">
        <a:lnSpc>
          <a:spcPct val="90000"/>
        </a:lnSpc>
        <a:spcBef>
          <a:spcPts val="675"/>
        </a:spcBef>
        <a:buClr>
          <a:srgbClr val="FF6C45"/>
        </a:buClr>
        <a:buFont typeface="Arial" pitchFamily="34" charset="0"/>
        <a:buChar char="•"/>
        <a:defRPr sz="1200" kern="1200">
          <a:solidFill>
            <a:srgbClr val="00B050"/>
          </a:solidFill>
          <a:latin typeface="Arial" pitchFamily="34" charset="0"/>
          <a:ea typeface="+mn-ea"/>
          <a:cs typeface="Arial" pitchFamily="34" charset="0"/>
        </a:defRPr>
      </a:lvl2pPr>
      <a:lvl3pPr marL="367200" indent="-135000" algn="l" defTabSz="685800" rtl="0" eaLnBrk="1" latinLnBrk="0" hangingPunct="1">
        <a:lnSpc>
          <a:spcPct val="90000"/>
        </a:lnSpc>
        <a:spcBef>
          <a:spcPts val="450"/>
        </a:spcBef>
        <a:buClr>
          <a:srgbClr val="FF6C45"/>
        </a:buClr>
        <a:buFont typeface="Arial" pitchFamily="34" charset="0"/>
        <a:buChar char="–"/>
        <a:defRPr sz="1200" kern="1200">
          <a:solidFill>
            <a:srgbClr val="00B050"/>
          </a:solidFill>
          <a:latin typeface="Arial" pitchFamily="34" charset="0"/>
          <a:ea typeface="+mn-ea"/>
          <a:cs typeface="Arial" pitchFamily="34" charset="0"/>
        </a:defRPr>
      </a:lvl3pPr>
      <a:lvl4pPr marL="475200" indent="-102870" algn="l" defTabSz="685800" rtl="0" eaLnBrk="1" latinLnBrk="0" hangingPunct="1">
        <a:lnSpc>
          <a:spcPct val="90000"/>
        </a:lnSpc>
        <a:spcBef>
          <a:spcPts val="150"/>
        </a:spcBef>
        <a:buClr>
          <a:srgbClr val="FF6C45"/>
        </a:buClr>
        <a:buFont typeface="Arial" pitchFamily="34" charset="0"/>
        <a:buChar char="-"/>
        <a:defRPr sz="1200" kern="1200">
          <a:solidFill>
            <a:srgbClr val="00B050"/>
          </a:solidFill>
          <a:latin typeface="Arial" pitchFamily="34" charset="0"/>
          <a:ea typeface="+mn-ea"/>
          <a:cs typeface="Arial" pitchFamily="34" charset="0"/>
        </a:defRPr>
      </a:lvl4pPr>
      <a:lvl5pPr marL="577800" indent="-102600" algn="l" defTabSz="685800" rtl="0" eaLnBrk="1" latinLnBrk="0" hangingPunct="1">
        <a:lnSpc>
          <a:spcPct val="90000"/>
        </a:lnSpc>
        <a:spcBef>
          <a:spcPts val="75"/>
        </a:spcBef>
        <a:buClr>
          <a:srgbClr val="FF6C45"/>
        </a:buClr>
        <a:buFont typeface="Arial" pitchFamily="34" charset="0"/>
        <a:buChar char="-"/>
        <a:defRPr sz="1200" kern="1200">
          <a:solidFill>
            <a:srgbClr val="00B050"/>
          </a:solidFill>
          <a:latin typeface="Arial" pitchFamily="34" charset="0"/>
          <a:ea typeface="+mn-ea"/>
          <a:cs typeface="Arial" pitchFamily="34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6">
          <p15:clr>
            <a:srgbClr val="FF9696"/>
          </p15:clr>
        </p15:guide>
        <p15:guide id="2" orient="horz" pos="1298">
          <p15:clr>
            <a:srgbClr val="FF9696"/>
          </p15:clr>
        </p15:guide>
        <p15:guide id="3" orient="horz" pos="1548">
          <p15:clr>
            <a:srgbClr val="FF9696"/>
          </p15:clr>
        </p15:guide>
        <p15:guide id="4" orient="horz" pos="3566">
          <p15:clr>
            <a:srgbClr val="FF9696"/>
          </p15:clr>
        </p15:guide>
        <p15:guide id="5" orient="horz" pos="3997">
          <p15:clr>
            <a:srgbClr val="FF9696"/>
          </p15:clr>
        </p15:guide>
        <p15:guide id="6" orient="horz" pos="4247">
          <p15:clr>
            <a:srgbClr val="FF9696"/>
          </p15:clr>
        </p15:guide>
        <p15:guide id="7" pos="158">
          <p15:clr>
            <a:srgbClr val="FF9696"/>
          </p15:clr>
        </p15:guide>
        <p15:guide id="8" pos="2652">
          <p15:clr>
            <a:srgbClr val="FF9696"/>
          </p15:clr>
        </p15:guide>
        <p15:guide id="9" pos="2881">
          <p15:clr>
            <a:srgbClr val="FF9696"/>
          </p15:clr>
        </p15:guide>
        <p15:guide id="10" pos="3107">
          <p15:clr>
            <a:srgbClr val="FF9696"/>
          </p15:clr>
        </p15:guide>
        <p15:guide id="11" pos="5602">
          <p15:clr>
            <a:srgbClr val="FF9696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776D4B2-4D7D-45DA-904C-9BD34D8969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42208254"/>
              </p:ext>
            </p:extLst>
          </p:nvPr>
        </p:nvGraphicFramePr>
        <p:xfrm>
          <a:off x="1588" y="1191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776D4B2-4D7D-45DA-904C-9BD34D8969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191"/>
                        <a:ext cx="1588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30C38C2-E269-4B31-ADCA-8BB5CD243D41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19063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 dirty="0" err="1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44507" y="603504"/>
            <a:ext cx="8641080" cy="253746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Headline of maximum two lines here</a:t>
            </a:r>
          </a:p>
        </p:txBody>
      </p:sp>
      <p:sp>
        <p:nvSpPr>
          <p:cNvPr id="3" name="Text Placeholder 1"/>
          <p:cNvSpPr>
            <a:spLocks noGrp="1"/>
          </p:cNvSpPr>
          <p:nvPr>
            <p:ph type="body" idx="1"/>
          </p:nvPr>
        </p:nvSpPr>
        <p:spPr>
          <a:xfrm>
            <a:off x="244507" y="1543050"/>
            <a:ext cx="8641080" cy="102335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2044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</p:sldLayoutIdLst>
  <p:hf sldNum="0" hdr="0" ftr="0" dt="0"/>
  <p:txStyles>
    <p:titleStyle>
      <a:lvl1pPr marL="0" indent="0"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35000" indent="-135000" algn="l" defTabSz="685800" rtl="0" eaLnBrk="1" latinLnBrk="0" hangingPunct="1">
        <a:lnSpc>
          <a:spcPct val="90000"/>
        </a:lnSpc>
        <a:spcBef>
          <a:spcPts val="1050"/>
        </a:spcBef>
        <a:buClr>
          <a:srgbClr val="FF6C45"/>
        </a:buClr>
        <a:buSzPct val="100000"/>
        <a:buFont typeface="Arial" pitchFamily="34" charset="0"/>
        <a:buChar char="■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33172" indent="-96012" algn="l" defTabSz="685800" rtl="0" eaLnBrk="1" latinLnBrk="0" hangingPunct="1">
        <a:lnSpc>
          <a:spcPct val="90000"/>
        </a:lnSpc>
        <a:spcBef>
          <a:spcPts val="675"/>
        </a:spcBef>
        <a:buClr>
          <a:srgbClr val="FF6C45"/>
        </a:buClr>
        <a:buFont typeface="Arial" pitchFamily="34" charset="0"/>
        <a:buChar char="•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7200" indent="-135000" algn="l" defTabSz="685800" rtl="0" eaLnBrk="1" latinLnBrk="0" hangingPunct="1">
        <a:lnSpc>
          <a:spcPct val="90000"/>
        </a:lnSpc>
        <a:spcBef>
          <a:spcPts val="450"/>
        </a:spcBef>
        <a:buClr>
          <a:srgbClr val="FF6C45"/>
        </a:buClr>
        <a:buFont typeface="Arial" pitchFamily="34" charset="0"/>
        <a:buChar char="–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75200" indent="-102870" algn="l" defTabSz="685800" rtl="0" eaLnBrk="1" latinLnBrk="0" hangingPunct="1">
        <a:lnSpc>
          <a:spcPct val="90000"/>
        </a:lnSpc>
        <a:spcBef>
          <a:spcPts val="150"/>
        </a:spcBef>
        <a:buClr>
          <a:srgbClr val="FF6C45"/>
        </a:buClr>
        <a:buFont typeface="Arial" pitchFamily="34" charset="0"/>
        <a:buChar char="-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577800" indent="-102600" algn="l" defTabSz="685800" rtl="0" eaLnBrk="1" latinLnBrk="0" hangingPunct="1">
        <a:lnSpc>
          <a:spcPct val="90000"/>
        </a:lnSpc>
        <a:spcBef>
          <a:spcPts val="75"/>
        </a:spcBef>
        <a:buClr>
          <a:srgbClr val="FF6C45"/>
        </a:buClr>
        <a:buFont typeface="Arial" pitchFamily="34" charset="0"/>
        <a:buChar char="-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6">
          <p15:clr>
            <a:srgbClr val="FF9696"/>
          </p15:clr>
        </p15:guide>
        <p15:guide id="2" orient="horz" pos="1298">
          <p15:clr>
            <a:srgbClr val="FF9696"/>
          </p15:clr>
        </p15:guide>
        <p15:guide id="3" orient="horz" pos="1548">
          <p15:clr>
            <a:srgbClr val="FF9696"/>
          </p15:clr>
        </p15:guide>
        <p15:guide id="4" orient="horz" pos="3566">
          <p15:clr>
            <a:srgbClr val="FF9696"/>
          </p15:clr>
        </p15:guide>
        <p15:guide id="5" orient="horz" pos="3997">
          <p15:clr>
            <a:srgbClr val="FF9696"/>
          </p15:clr>
        </p15:guide>
        <p15:guide id="6" orient="horz" pos="4247">
          <p15:clr>
            <a:srgbClr val="FF9696"/>
          </p15:clr>
        </p15:guide>
        <p15:guide id="7" pos="158">
          <p15:clr>
            <a:srgbClr val="FF9696"/>
          </p15:clr>
        </p15:guide>
        <p15:guide id="8" pos="2652">
          <p15:clr>
            <a:srgbClr val="FF9696"/>
          </p15:clr>
        </p15:guide>
        <p15:guide id="9" pos="2881">
          <p15:clr>
            <a:srgbClr val="FF9696"/>
          </p15:clr>
        </p15:guide>
        <p15:guide id="10" pos="3107">
          <p15:clr>
            <a:srgbClr val="FF9696"/>
          </p15:clr>
        </p15:guide>
        <p15:guide id="11" pos="5602">
          <p15:clr>
            <a:srgbClr val="FF9696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82466629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hape 5"/>
          <p:cNvSpPr>
            <a:spLocks noGrp="1"/>
          </p:cNvSpPr>
          <p:nvPr>
            <p:ph type="body" idx="1"/>
          </p:nvPr>
        </p:nvSpPr>
        <p:spPr>
          <a:xfrm>
            <a:off x="254000" y="273845"/>
            <a:ext cx="7349067" cy="48696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normAutofit/>
          </a:bodyPr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1800">
                <a:solidFill>
                  <a:srgbClr val="808080"/>
                </a:solidFill>
              </a:rPr>
              <a:t>Body Level One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1800">
                <a:solidFill>
                  <a:srgbClr val="808080"/>
                </a:solidFill>
              </a:rPr>
              <a:t>Body Level Tw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1800">
                <a:solidFill>
                  <a:srgbClr val="808080"/>
                </a:solidFill>
              </a:rPr>
              <a:t>Body Level Thre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1800">
                <a:solidFill>
                  <a:srgbClr val="808080"/>
                </a:solidFill>
              </a:rPr>
              <a:t>Body Level Four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1800">
                <a:solidFill>
                  <a:srgbClr val="808080"/>
                </a:solidFill>
              </a:rPr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583691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transition spd="med"/>
  <p:hf sldNum="0" hdr="0" dt="0"/>
  <p:txStyles>
    <p:titleStyle>
      <a:lvl1pPr>
        <a:lnSpc>
          <a:spcPct val="90000"/>
        </a:lnSpc>
        <a:defRPr sz="2400" b="1">
          <a:solidFill>
            <a:srgbClr val="FF8103"/>
          </a:solidFill>
          <a:latin typeface="Arial"/>
          <a:ea typeface="Arial"/>
          <a:cs typeface="Arial"/>
          <a:sym typeface="Arial"/>
        </a:defRPr>
      </a:lvl1pPr>
      <a:lvl2pPr>
        <a:lnSpc>
          <a:spcPct val="90000"/>
        </a:lnSpc>
        <a:defRPr sz="2400" b="1">
          <a:solidFill>
            <a:srgbClr val="FF8103"/>
          </a:solidFill>
          <a:latin typeface="Arial"/>
          <a:ea typeface="Arial"/>
          <a:cs typeface="Arial"/>
          <a:sym typeface="Arial"/>
        </a:defRPr>
      </a:lvl2pPr>
      <a:lvl3pPr>
        <a:lnSpc>
          <a:spcPct val="90000"/>
        </a:lnSpc>
        <a:defRPr sz="2400" b="1">
          <a:solidFill>
            <a:srgbClr val="FF8103"/>
          </a:solidFill>
          <a:latin typeface="Arial"/>
          <a:ea typeface="Arial"/>
          <a:cs typeface="Arial"/>
          <a:sym typeface="Arial"/>
        </a:defRPr>
      </a:lvl3pPr>
      <a:lvl4pPr>
        <a:lnSpc>
          <a:spcPct val="90000"/>
        </a:lnSpc>
        <a:defRPr sz="2400" b="1">
          <a:solidFill>
            <a:srgbClr val="FF8103"/>
          </a:solidFill>
          <a:latin typeface="Arial"/>
          <a:ea typeface="Arial"/>
          <a:cs typeface="Arial"/>
          <a:sym typeface="Arial"/>
        </a:defRPr>
      </a:lvl4pPr>
      <a:lvl5pPr>
        <a:lnSpc>
          <a:spcPct val="90000"/>
        </a:lnSpc>
        <a:defRPr sz="2400" b="1">
          <a:solidFill>
            <a:srgbClr val="FF8103"/>
          </a:solidFill>
          <a:latin typeface="Arial"/>
          <a:ea typeface="Arial"/>
          <a:cs typeface="Arial"/>
          <a:sym typeface="Arial"/>
        </a:defRPr>
      </a:lvl5pPr>
      <a:lvl6pPr>
        <a:lnSpc>
          <a:spcPct val="90000"/>
        </a:lnSpc>
        <a:defRPr sz="2400" b="1">
          <a:solidFill>
            <a:srgbClr val="FF8103"/>
          </a:solidFill>
          <a:latin typeface="Arial"/>
          <a:ea typeface="Arial"/>
          <a:cs typeface="Arial"/>
          <a:sym typeface="Arial"/>
        </a:defRPr>
      </a:lvl6pPr>
      <a:lvl7pPr>
        <a:lnSpc>
          <a:spcPct val="90000"/>
        </a:lnSpc>
        <a:defRPr sz="2400" b="1">
          <a:solidFill>
            <a:srgbClr val="FF8103"/>
          </a:solidFill>
          <a:latin typeface="Arial"/>
          <a:ea typeface="Arial"/>
          <a:cs typeface="Arial"/>
          <a:sym typeface="Arial"/>
        </a:defRPr>
      </a:lvl7pPr>
      <a:lvl8pPr>
        <a:lnSpc>
          <a:spcPct val="90000"/>
        </a:lnSpc>
        <a:defRPr sz="2400" b="1">
          <a:solidFill>
            <a:srgbClr val="FF8103"/>
          </a:solidFill>
          <a:latin typeface="Arial"/>
          <a:ea typeface="Arial"/>
          <a:cs typeface="Arial"/>
          <a:sym typeface="Arial"/>
        </a:defRPr>
      </a:lvl8pPr>
      <a:lvl9pPr>
        <a:lnSpc>
          <a:spcPct val="90000"/>
        </a:lnSpc>
        <a:defRPr sz="2400" b="1">
          <a:solidFill>
            <a:srgbClr val="FF8103"/>
          </a:solidFill>
          <a:latin typeface="Arial"/>
          <a:ea typeface="Arial"/>
          <a:cs typeface="Arial"/>
          <a:sym typeface="Arial"/>
        </a:defRPr>
      </a:lvl9pPr>
    </p:titleStyle>
    <p:bodyStyle>
      <a:lvl1pPr marL="171450" indent="-171450">
        <a:lnSpc>
          <a:spcPct val="90000"/>
        </a:lnSpc>
        <a:spcBef>
          <a:spcPts val="750"/>
        </a:spcBef>
        <a:buSzPct val="100000"/>
        <a:buFont typeface="Arial"/>
        <a:buChar char="•"/>
        <a:defRPr sz="1800">
          <a:solidFill>
            <a:srgbClr val="808080"/>
          </a:solidFill>
          <a:latin typeface="Arial"/>
          <a:ea typeface="Arial"/>
          <a:cs typeface="Arial"/>
          <a:sym typeface="Arial"/>
        </a:defRPr>
      </a:lvl1pPr>
      <a:lvl2pPr marL="548639" indent="-205739">
        <a:lnSpc>
          <a:spcPct val="90000"/>
        </a:lnSpc>
        <a:spcBef>
          <a:spcPts val="750"/>
        </a:spcBef>
        <a:buSzPct val="100000"/>
        <a:buFont typeface="Arial"/>
        <a:buChar char="•"/>
        <a:defRPr sz="1800">
          <a:solidFill>
            <a:srgbClr val="808080"/>
          </a:solidFill>
          <a:latin typeface="Arial"/>
          <a:ea typeface="Arial"/>
          <a:cs typeface="Arial"/>
          <a:sym typeface="Arial"/>
        </a:defRPr>
      </a:lvl2pPr>
      <a:lvl3pPr marL="914400" indent="-228600">
        <a:lnSpc>
          <a:spcPct val="90000"/>
        </a:lnSpc>
        <a:spcBef>
          <a:spcPts val="750"/>
        </a:spcBef>
        <a:buSzPct val="100000"/>
        <a:buFont typeface="Arial"/>
        <a:buChar char="•"/>
        <a:defRPr sz="1800">
          <a:solidFill>
            <a:srgbClr val="808080"/>
          </a:solidFill>
          <a:latin typeface="Arial"/>
          <a:ea typeface="Arial"/>
          <a:cs typeface="Arial"/>
          <a:sym typeface="Arial"/>
        </a:defRPr>
      </a:lvl3pPr>
      <a:lvl4pPr marL="1285875" indent="-257175">
        <a:lnSpc>
          <a:spcPct val="90000"/>
        </a:lnSpc>
        <a:spcBef>
          <a:spcPts val="750"/>
        </a:spcBef>
        <a:buSzPct val="100000"/>
        <a:buFont typeface="Arial"/>
        <a:buChar char="•"/>
        <a:defRPr sz="1800">
          <a:solidFill>
            <a:srgbClr val="808080"/>
          </a:solidFill>
          <a:latin typeface="Arial"/>
          <a:ea typeface="Arial"/>
          <a:cs typeface="Arial"/>
          <a:sym typeface="Arial"/>
        </a:defRPr>
      </a:lvl4pPr>
      <a:lvl5pPr marL="1665513" indent="-293913">
        <a:lnSpc>
          <a:spcPct val="90000"/>
        </a:lnSpc>
        <a:spcBef>
          <a:spcPts val="750"/>
        </a:spcBef>
        <a:buSzPct val="100000"/>
        <a:buFont typeface="Arial"/>
        <a:buChar char="•"/>
        <a:defRPr sz="1800">
          <a:solidFill>
            <a:srgbClr val="808080"/>
          </a:solidFill>
          <a:latin typeface="Arial"/>
          <a:ea typeface="Arial"/>
          <a:cs typeface="Arial"/>
          <a:sym typeface="Arial"/>
        </a:defRPr>
      </a:lvl5pPr>
      <a:lvl6pPr marL="1943100" indent="-228600">
        <a:lnSpc>
          <a:spcPct val="90000"/>
        </a:lnSpc>
        <a:spcBef>
          <a:spcPts val="750"/>
        </a:spcBef>
        <a:buSzPct val="100000"/>
        <a:buFont typeface="Arial"/>
        <a:buChar char="•"/>
        <a:defRPr sz="1800">
          <a:solidFill>
            <a:srgbClr val="808080"/>
          </a:solidFill>
          <a:latin typeface="Arial"/>
          <a:ea typeface="Arial"/>
          <a:cs typeface="Arial"/>
          <a:sym typeface="Arial"/>
        </a:defRPr>
      </a:lvl6pPr>
      <a:lvl7pPr marL="2286000" indent="-228600">
        <a:lnSpc>
          <a:spcPct val="90000"/>
        </a:lnSpc>
        <a:spcBef>
          <a:spcPts val="750"/>
        </a:spcBef>
        <a:buSzPct val="100000"/>
        <a:buFont typeface="Arial"/>
        <a:buChar char="•"/>
        <a:defRPr sz="1800">
          <a:solidFill>
            <a:srgbClr val="808080"/>
          </a:solidFill>
          <a:latin typeface="Arial"/>
          <a:ea typeface="Arial"/>
          <a:cs typeface="Arial"/>
          <a:sym typeface="Arial"/>
        </a:defRPr>
      </a:lvl7pPr>
      <a:lvl8pPr marL="2628900" indent="-228600">
        <a:lnSpc>
          <a:spcPct val="90000"/>
        </a:lnSpc>
        <a:spcBef>
          <a:spcPts val="750"/>
        </a:spcBef>
        <a:buSzPct val="100000"/>
        <a:buFont typeface="Arial"/>
        <a:buChar char="•"/>
        <a:defRPr sz="1800">
          <a:solidFill>
            <a:srgbClr val="808080"/>
          </a:solidFill>
          <a:latin typeface="Arial"/>
          <a:ea typeface="Arial"/>
          <a:cs typeface="Arial"/>
          <a:sym typeface="Arial"/>
        </a:defRPr>
      </a:lvl8pPr>
      <a:lvl9pPr marL="2971800" indent="-228600">
        <a:lnSpc>
          <a:spcPct val="90000"/>
        </a:lnSpc>
        <a:spcBef>
          <a:spcPts val="750"/>
        </a:spcBef>
        <a:buSzPct val="100000"/>
        <a:buFont typeface="Arial"/>
        <a:buChar char="•"/>
        <a:defRPr sz="1800">
          <a:solidFill>
            <a:srgbClr val="808080"/>
          </a:solidFill>
          <a:latin typeface="Arial"/>
          <a:ea typeface="Arial"/>
          <a:cs typeface="Arial"/>
          <a:sym typeface="Arial"/>
        </a:defRPr>
      </a:lvl9pPr>
    </p:bodyStyle>
    <p:otherStyle>
      <a:lvl1pPr algn="r">
        <a:defRPr sz="900">
          <a:solidFill>
            <a:schemeClr val="tx1"/>
          </a:solidFill>
          <a:latin typeface="+mn-lt"/>
          <a:ea typeface="+mn-ea"/>
          <a:cs typeface="+mn-cs"/>
          <a:sym typeface="Calibri"/>
        </a:defRPr>
      </a:lvl1pPr>
      <a:lvl2pPr algn="r">
        <a:defRPr sz="900">
          <a:solidFill>
            <a:schemeClr val="tx1"/>
          </a:solidFill>
          <a:latin typeface="+mn-lt"/>
          <a:ea typeface="+mn-ea"/>
          <a:cs typeface="+mn-cs"/>
          <a:sym typeface="Calibri"/>
        </a:defRPr>
      </a:lvl2pPr>
      <a:lvl3pPr algn="r">
        <a:defRPr sz="900">
          <a:solidFill>
            <a:schemeClr val="tx1"/>
          </a:solidFill>
          <a:latin typeface="+mn-lt"/>
          <a:ea typeface="+mn-ea"/>
          <a:cs typeface="+mn-cs"/>
          <a:sym typeface="Calibri"/>
        </a:defRPr>
      </a:lvl3pPr>
      <a:lvl4pPr algn="r">
        <a:defRPr sz="900">
          <a:solidFill>
            <a:schemeClr val="tx1"/>
          </a:solidFill>
          <a:latin typeface="+mn-lt"/>
          <a:ea typeface="+mn-ea"/>
          <a:cs typeface="+mn-cs"/>
          <a:sym typeface="Calibri"/>
        </a:defRPr>
      </a:lvl4pPr>
      <a:lvl5pPr algn="r">
        <a:defRPr sz="900">
          <a:solidFill>
            <a:schemeClr val="tx1"/>
          </a:solidFill>
          <a:latin typeface="+mn-lt"/>
          <a:ea typeface="+mn-ea"/>
          <a:cs typeface="+mn-cs"/>
          <a:sym typeface="Calibri"/>
        </a:defRPr>
      </a:lvl5pPr>
      <a:lvl6pPr algn="r">
        <a:defRPr sz="900">
          <a:solidFill>
            <a:schemeClr val="tx1"/>
          </a:solidFill>
          <a:latin typeface="+mn-lt"/>
          <a:ea typeface="+mn-ea"/>
          <a:cs typeface="+mn-cs"/>
          <a:sym typeface="Calibri"/>
        </a:defRPr>
      </a:lvl6pPr>
      <a:lvl7pPr algn="r">
        <a:defRPr sz="900">
          <a:solidFill>
            <a:schemeClr val="tx1"/>
          </a:solidFill>
          <a:latin typeface="+mn-lt"/>
          <a:ea typeface="+mn-ea"/>
          <a:cs typeface="+mn-cs"/>
          <a:sym typeface="Calibri"/>
        </a:defRPr>
      </a:lvl7pPr>
      <a:lvl8pPr algn="r">
        <a:defRPr sz="900">
          <a:solidFill>
            <a:schemeClr val="tx1"/>
          </a:solidFill>
          <a:latin typeface="+mn-lt"/>
          <a:ea typeface="+mn-ea"/>
          <a:cs typeface="+mn-cs"/>
          <a:sym typeface="Calibri"/>
        </a:defRPr>
      </a:lvl8pPr>
      <a:lvl9pPr algn="r">
        <a:defRPr sz="900">
          <a:solidFill>
            <a:schemeClr val="tx1"/>
          </a:solidFill>
          <a:latin typeface="+mn-lt"/>
          <a:ea typeface="+mn-ea"/>
          <a:cs typeface="+mn-cs"/>
          <a:sym typeface="Calibri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Shape 6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test1</a:t>
            </a:r>
            <a:endParaRPr dirty="0"/>
          </a:p>
          <a:p>
            <a:pPr marL="0" lvl="0" indent="0">
              <a:spcBef>
                <a:spcPts val="1600"/>
              </a:spcBef>
              <a:spcAft>
                <a:spcPts val="0"/>
              </a:spcAft>
              <a:buNone/>
            </a:pPr>
            <a:r>
              <a:rPr lang="en-US" dirty="0"/>
              <a:t>test2</a:t>
            </a:r>
            <a:endParaRPr dirty="0"/>
          </a:p>
          <a:p>
            <a:pPr marL="457200" lvl="0" indent="-342900">
              <a:spcBef>
                <a:spcPts val="1600"/>
              </a:spcBef>
              <a:spcAft>
                <a:spcPts val="0"/>
              </a:spcAft>
              <a:buSzPts val="1800"/>
              <a:buChar char="●"/>
            </a:pPr>
            <a:r>
              <a:rPr lang="en-US" dirty="0"/>
              <a:t>test3</a:t>
            </a:r>
            <a:endParaRPr dirty="0"/>
          </a:p>
          <a:p>
            <a: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</a:pPr>
            <a:r>
              <a:rPr lang="en-US" dirty="0"/>
              <a:t>test4</a:t>
            </a:r>
            <a:endParaRPr dirty="0"/>
          </a:p>
          <a:p>
            <a:pPr marL="0" lvl="0" indent="0">
              <a:spcBef>
                <a:spcPts val="1600"/>
              </a:spcBef>
              <a:spcAft>
                <a:spcPts val="1600"/>
              </a:spcAft>
              <a:buNone/>
            </a:pPr>
            <a:r>
              <a:rPr lang="en-US" dirty="0"/>
              <a:t>test5</a:t>
            </a:r>
            <a:endParaRPr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2422830" y="1102261"/>
            <a:ext cx="4298341" cy="605118"/>
          </a:xfrm>
        </p:spPr>
        <p:txBody>
          <a:bodyPr anchor="ctr"/>
          <a:lstStyle/>
          <a:p>
            <a:r>
              <a:rPr lang="en-GB">
                <a:solidFill>
                  <a:srgbClr val="FF0000"/>
                </a:solidFill>
              </a:rPr>
              <a:t>Test subtitle</a:t>
            </a:r>
            <a:endParaRPr lang="en-GB" dirty="0">
              <a:solidFill>
                <a:srgbClr val="FF0000"/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326380" y="603505"/>
            <a:ext cx="6480810" cy="249299"/>
          </a:xfr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dirty="0">
                <a:solidFill>
                  <a:srgbClr val="00B050"/>
                </a:solidFill>
                <a:latin typeface="Arial"/>
              </a:rPr>
              <a:t>Tes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1505683" y="1127986"/>
            <a:ext cx="3066317" cy="186974"/>
          </a:xfrm>
        </p:spPr>
        <p:txBody>
          <a:bodyPr/>
          <a:lstStyle/>
          <a:p>
            <a:r>
              <a:rPr lang="en-GB" sz="1350" dirty="0">
                <a:solidFill>
                  <a:srgbClr val="00B050"/>
                </a:solidFill>
              </a:rPr>
              <a:t>tes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505683" y="1403387"/>
            <a:ext cx="3060554" cy="515013"/>
          </a:xfrm>
        </p:spPr>
        <p:txBody>
          <a:bodyPr/>
          <a:lstStyle/>
          <a:p>
            <a:pPr marL="0" indent="0">
              <a:buNone/>
            </a:pPr>
            <a:r>
              <a:rPr lang="en-GB" sz="1350" dirty="0">
                <a:solidFill>
                  <a:srgbClr val="00B050"/>
                </a:solidFill>
              </a:rPr>
              <a:t>test</a:t>
            </a:r>
          </a:p>
          <a:p>
            <a:pPr marL="0" indent="0">
              <a:buNone/>
            </a:pPr>
            <a:endParaRPr lang="en-GB" sz="135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4893923" y="1131011"/>
            <a:ext cx="2739047" cy="339067"/>
          </a:xfrm>
        </p:spPr>
        <p:txBody>
          <a:bodyPr/>
          <a:lstStyle/>
          <a:p>
            <a:pPr marL="0" lvl="1"/>
            <a:r>
              <a:rPr lang="en-GB" sz="900" dirty="0">
                <a:solidFill>
                  <a:srgbClr val="00B050"/>
                </a:solidFill>
              </a:rPr>
              <a:t>test</a:t>
            </a:r>
          </a:p>
          <a:p>
            <a:pPr marL="628077" lvl="1" indent="-311546"/>
            <a:r>
              <a:rPr lang="en-GB" sz="900" dirty="0">
                <a:solidFill>
                  <a:srgbClr val="00B050"/>
                </a:solidFill>
              </a:rPr>
              <a:t>test</a:t>
            </a:r>
          </a:p>
        </p:txBody>
      </p:sp>
      <p:sp>
        <p:nvSpPr>
          <p:cNvPr id="17" name="Source"/>
          <p:cNvSpPr txBox="1"/>
          <p:nvPr/>
        </p:nvSpPr>
        <p:spPr>
          <a:xfrm>
            <a:off x="1506878" y="4609211"/>
            <a:ext cx="5285277" cy="12086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157" indent="-274157" defTabSz="685800">
              <a:buClrTx/>
            </a:pPr>
            <a:r>
              <a:rPr lang="en-GB" sz="554" dirty="0">
                <a:solidFill>
                  <a:srgbClr val="00B050"/>
                </a:solidFill>
                <a:latin typeface="Arial"/>
              </a:rPr>
              <a:t>Test foot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940807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1505683" y="944037"/>
            <a:ext cx="3066317" cy="166199"/>
          </a:xfrm>
        </p:spPr>
        <p:txBody>
          <a:bodyPr/>
          <a:lstStyle/>
          <a:p>
            <a:r>
              <a:rPr lang="en-US" dirty="0">
                <a:solidFill>
                  <a:srgbClr val="00B050"/>
                </a:solidFill>
              </a:rPr>
              <a:t>Test</a:t>
            </a:r>
            <a:endParaRPr lang="en-GB" dirty="0">
              <a:solidFill>
                <a:srgbClr val="00B05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650808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505683" y="1219437"/>
            <a:ext cx="3060554" cy="473463"/>
          </a:xfrm>
        </p:spPr>
        <p:txBody>
          <a:bodyPr/>
          <a:lstStyle/>
          <a:p>
            <a:r>
              <a:rPr lang="en-GB" dirty="0"/>
              <a:t>Test</a:t>
            </a:r>
          </a:p>
          <a:p>
            <a:pPr marL="0" indent="0">
              <a:buNone/>
            </a:pP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880057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52"/>
          <p:cNvSpPr>
            <a:spLocks noGrp="1"/>
          </p:cNvSpPr>
          <p:nvPr>
            <p:ph type="title"/>
          </p:nvPr>
        </p:nvSpPr>
        <p:spPr>
          <a:xfrm>
            <a:off x="1105839" y="0"/>
            <a:ext cx="6163641" cy="213087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est text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TRAIGHT CONNECTOR 14" val="Top=357.1569|Left=40.61465|Width=698.5853|Height=0"/>
  <p:tag name="MONE_MU_STRAIGHT CONNECTOR 13" val="Top=214.1682|Left=40.61465|Width=698.5853|Height=3.005197"/>
  <p:tag name="MONE_MU_SOURCE" val="Top=501.7615|Left=40.8|Width=601.1251|Height=13.74709|FontName=Arial|FontSize=8"/>
  <p:tag name="MONE_MU_CONTENT PLACEHOLDER 11" val="Top=375.0983|Left=426.6142|Width=311.5276|Height=122.0422|FontName=Arial|FontSize=12"/>
  <p:tag name="MONE_MU_CONTENT PLACEHOLDER 10" val="Top=235.1147|Left=426.6142|Width=311.5276|Height=122.0422|FontName=Arial|FontSize=12"/>
  <p:tag name="MONE_MU_CONTENT PLACEHOLDER 9" val="Top=404.0117|Left=40.59457|Width=348.0945|Height=93.12882|FontName=Arial|FontSize=14"/>
  <p:tag name="MONE_MU_TEXT PLACEHOLDER 8" val="Top=375.0983|Left=40.59449|Width=348.75|Height=22.67717|FontName=Arial|FontSize=14"/>
  <p:tag name="MONE_MU_CONTENT PLACEHOLDER 7" val="Top=264.0281|Left=41.25|Width=348.0945|Height=93.12882|FontName=Arial|FontSize=14"/>
  <p:tag name="MONE_MU_TEXT PLACEHOLDER 6" val="Top=235.1147|Left=41.24992|Width=348.75|Height=22.67717|FontName=Arial|FontSize=14"/>
  <p:tag name="MONE_MU_CONTENT PLACEHOLDER 5" val="Top=92.12598|Left=426.6142|Width=311.5276|Height=122.0422|FontName=Arial|FontSize=12"/>
  <p:tag name="MONE_MU_CONTENT PLACEHOLDER 3" val="Top=121.0394|Left=41.25|Width=348.0945|Height=93.12882|FontName=Arial|FontSize=14"/>
  <p:tag name="MONE_MU_TEXT PLACEHOLDER 4" val="Top=92.12598|Left=41.24992|Width=348.75|Height=22.67717|FontName=Arial|FontSize=14"/>
  <p:tag name="MONE_MU_TITLE 2" val="Top=14.97898|Left=40.8|Width=698.4|Height=46.7374|FontName=Arial|FontSize=1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f67Qf2Qji_mD8vTQ5N0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f67Qf2Qji_mD8vTQ5N0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f67Qf2Qji_mD8vTQ5N0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TRAIGHT CONNECTOR 14" val="Top=357.1569|Left=40.61465|Width=698.5853|Height=0"/>
  <p:tag name="MONE_MU_STRAIGHT CONNECTOR 13" val="Top=214.1682|Left=40.61465|Width=698.5853|Height=3.005197"/>
  <p:tag name="MONE_MU_SOURCE" val="Top=501.7615|Left=40.8|Width=601.1251|Height=13.74709|FontName=Arial|FontSize=8"/>
  <p:tag name="MONE_MU_CONTENT PLACEHOLDER 11" val="Top=375.0983|Left=426.6142|Width=311.5276|Height=122.0422|FontName=Arial|FontSize=12"/>
  <p:tag name="MONE_MU_CONTENT PLACEHOLDER 10" val="Top=235.1147|Left=426.6142|Width=311.5276|Height=122.0422|FontName=Arial|FontSize=12"/>
  <p:tag name="MONE_MU_CONTENT PLACEHOLDER 9" val="Top=404.0117|Left=40.59457|Width=348.0945|Height=93.12882|FontName=Arial|FontSize=14"/>
  <p:tag name="MONE_MU_TEXT PLACEHOLDER 8" val="Top=375.0983|Left=40.59449|Width=348.75|Height=22.67717|FontName=Arial|FontSize=14"/>
  <p:tag name="MONE_MU_CONTENT PLACEHOLDER 7" val="Top=264.0281|Left=41.25|Width=348.0945|Height=93.12882|FontName=Arial|FontSize=14"/>
  <p:tag name="MONE_MU_TEXT PLACEHOLDER 6" val="Top=235.1147|Left=41.24992|Width=348.75|Height=22.67717|FontName=Arial|FontSize=14"/>
  <p:tag name="MONE_MU_CONTENT PLACEHOLDER 5" val="Top=92.12598|Left=426.6142|Width=311.5276|Height=122.0422|FontName=Arial|FontSize=12"/>
  <p:tag name="MONE_MU_CONTENT PLACEHOLDER 3" val="Top=121.0394|Left=41.25|Width=348.0945|Height=93.12882|FontName=Arial|FontSize=14"/>
  <p:tag name="MONE_MU_TEXT PLACEHOLDER 4" val="Top=92.12598|Left=41.24992|Width=348.75|Height=22.67717|FontName=Arial|FontSize=14"/>
  <p:tag name="MONE_MU_TITLE 2" val="Top=14.97898|Left=40.8|Width=698.4|Height=46.7374|FontName=Arial|FontSize=1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TRAIGHT CONNECTOR 14" val="Top=357.1569|Left=40.61465|Width=698.5853|Height=0"/>
  <p:tag name="MONE_MU_STRAIGHT CONNECTOR 13" val="Top=214.1682|Left=40.61465|Width=698.5853|Height=3.005197"/>
  <p:tag name="MONE_MU_SOURCE" val="Top=501.7615|Left=40.8|Width=601.1251|Height=13.74709|FontName=Arial|FontSize=8"/>
  <p:tag name="MONE_MU_CONTENT PLACEHOLDER 11" val="Top=375.0983|Left=426.6142|Width=311.5276|Height=122.0422|FontName=Arial|FontSize=12"/>
  <p:tag name="MONE_MU_CONTENT PLACEHOLDER 10" val="Top=235.1147|Left=426.6142|Width=311.5276|Height=122.0422|FontName=Arial|FontSize=12"/>
  <p:tag name="MONE_MU_CONTENT PLACEHOLDER 9" val="Top=404.0117|Left=40.59457|Width=348.0945|Height=93.12882|FontName=Arial|FontSize=14"/>
  <p:tag name="MONE_MU_TEXT PLACEHOLDER 8" val="Top=375.0983|Left=40.59449|Width=348.75|Height=22.67717|FontName=Arial|FontSize=14"/>
  <p:tag name="MONE_MU_CONTENT PLACEHOLDER 7" val="Top=264.0281|Left=41.25|Width=348.0945|Height=93.12882|FontName=Arial|FontSize=14"/>
  <p:tag name="MONE_MU_TEXT PLACEHOLDER 6" val="Top=235.1147|Left=41.24992|Width=348.75|Height=22.67717|FontName=Arial|FontSize=14"/>
  <p:tag name="MONE_MU_CONTENT PLACEHOLDER 5" val="Top=92.12598|Left=426.6142|Width=311.5276|Height=122.0422|FontName=Arial|FontSize=12"/>
  <p:tag name="MONE_MU_CONTENT PLACEHOLDER 3" val="Top=121.0394|Left=41.25|Width=348.0945|Height=93.12882|FontName=Arial|FontSize=14"/>
  <p:tag name="MONE_MU_TEXT PLACEHOLDER 4" val="Top=92.12598|Left=41.24992|Width=348.75|Height=22.67717|FontName=Arial|FontSize=14"/>
  <p:tag name="MONE_MU_TITLE 2" val="Top=14.97898|Left=40.8|Width=698.4|Height=46.7374|FontName=Arial|FontSize=18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~2997995">
  <a:themeElements>
    <a:clrScheme name="PwC Orange">
      <a:dk1>
        <a:srgbClr val="000000"/>
      </a:dk1>
      <a:lt1>
        <a:srgbClr val="FFFFFF"/>
      </a:lt1>
      <a:dk2>
        <a:srgbClr val="DC6900"/>
      </a:dk2>
      <a:lt2>
        <a:srgbClr val="FFFFFF"/>
      </a:lt2>
      <a:accent1>
        <a:srgbClr val="DC6900"/>
      </a:accent1>
      <a:accent2>
        <a:srgbClr val="FFB600"/>
      </a:accent2>
      <a:accent3>
        <a:srgbClr val="602320"/>
      </a:accent3>
      <a:accent4>
        <a:srgbClr val="DB536A"/>
      </a:accent4>
      <a:accent5>
        <a:srgbClr val="A32020"/>
      </a:accent5>
      <a:accent6>
        <a:srgbClr val="E0301E"/>
      </a:accent6>
      <a:hlink>
        <a:srgbClr val="DC6900"/>
      </a:hlink>
      <a:folHlink>
        <a:srgbClr val="DC690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chemeClr val="tx2"/>
        </a:solidFill>
        <a:ln w="3175">
          <a:solidFill>
            <a:schemeClr val="tx2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  <a:latin typeface="Georgia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noAutofit/>
      </a:bodyPr>
      <a:lstStyle>
        <a:defPPr>
          <a:spcAft>
            <a:spcPts val="900"/>
          </a:spcAft>
          <a:defRPr sz="2000" dirty="0" smtClean="0">
            <a:latin typeface="Georgia" pitchFamily="18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91F21275-7830-497D-B741-EE12799FC331}" vid="{B781696D-5232-4FA7-BDC5-864874AC5D4C}"/>
    </a:ext>
  </a:extLst>
</a:theme>
</file>

<file path=ppt/theme/theme4.xml><?xml version="1.0" encoding="utf-8"?>
<a:theme xmlns:a="http://schemas.openxmlformats.org/drawingml/2006/main" name="1_Blank">
  <a:themeElements>
    <a:clrScheme name="Orange Red">
      <a:dk1>
        <a:sysClr val="windowText" lastClr="000000"/>
      </a:dk1>
      <a:lt1>
        <a:sysClr val="window" lastClr="FFFFFF"/>
      </a:lt1>
      <a:dk2>
        <a:srgbClr val="696464"/>
      </a:dk2>
      <a:lt2>
        <a:srgbClr val="E9E5DC"/>
      </a:lt2>
      <a:accent1>
        <a:srgbClr val="D34817"/>
      </a:accent1>
      <a:accent2>
        <a:srgbClr val="9B2D1F"/>
      </a:accent2>
      <a:accent3>
        <a:srgbClr val="A28E6A"/>
      </a:accent3>
      <a:accent4>
        <a:srgbClr val="956251"/>
      </a:accent4>
      <a:accent5>
        <a:srgbClr val="918485"/>
      </a:accent5>
      <a:accent6>
        <a:srgbClr val="855D5D"/>
      </a:accent6>
      <a:hlink>
        <a:srgbClr val="CC9900"/>
      </a:hlink>
      <a:folHlink>
        <a:srgbClr val="96A9A9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91F21275-7830-497D-B741-EE12799FC331}" vid="{B781696D-5232-4FA7-BDC5-864874AC5D4C}"/>
    </a:ext>
  </a:extLst>
</a:theme>
</file>

<file path=ppt/theme/theme5.xml><?xml version="1.0" encoding="utf-8"?>
<a:theme xmlns:a="http://schemas.openxmlformats.org/drawingml/2006/main" name="2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91F21275-7830-497D-B741-EE12799FC331}" vid="{B781696D-5232-4FA7-BDC5-864874AC5D4C}"/>
    </a:ext>
  </a:extLst>
</a:theme>
</file>

<file path=ppt/theme/theme6.xml><?xml version="1.0" encoding="utf-8"?>
<a:theme xmlns:a="http://schemas.openxmlformats.org/drawingml/2006/main" name="Default">
  <a:themeElements>
    <a:clrScheme name="Default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25400" cap="flat">
          <a:noFill/>
          <a:prstDash val="solid"/>
          <a:bevel/>
        </a:ln>
        <a:effectLst/>
      </a:spPr>
      <a:bodyPr rot="0" spcFirstLastPara="1" vertOverflow="overflow" horzOverflow="overflow" vert="horz" wrap="square" lIns="45718" tIns="45718" rIns="45718" bIns="45718" numCol="1" spcCol="38100" rtlCol="0" anchor="ctr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5B9BD5"/>
          </a:solidFill>
          <a:prstDash val="solid"/>
          <a:bevel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7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2</Words>
  <Application>Microsoft Office PowerPoint</Application>
  <PresentationFormat>On-screen Show (16:9)</PresentationFormat>
  <Paragraphs>19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6" baseType="lpstr">
      <vt:lpstr>Arial</vt:lpstr>
      <vt:lpstr>Calibri</vt:lpstr>
      <vt:lpstr>Georgia</vt:lpstr>
      <vt:lpstr>Simple Light</vt:lpstr>
      <vt:lpstr>~2997995</vt:lpstr>
      <vt:lpstr>Blank</vt:lpstr>
      <vt:lpstr>1_Blank</vt:lpstr>
      <vt:lpstr>2_Blank</vt:lpstr>
      <vt:lpstr>Default</vt:lpstr>
      <vt:lpstr>think-cell Slide</vt:lpstr>
      <vt:lpstr>PowerPoint Presentation</vt:lpstr>
      <vt:lpstr>PowerPoint Presentation</vt:lpstr>
      <vt:lpstr>Test</vt:lpstr>
      <vt:lpstr>PowerPoint Presentation</vt:lpstr>
      <vt:lpstr>PowerPoint Presentation</vt:lpstr>
      <vt:lpstr>Test tex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Fabrice Balan</cp:lastModifiedBy>
  <cp:revision>12</cp:revision>
  <dcterms:modified xsi:type="dcterms:W3CDTF">2024-09-15T10:11:41Z</dcterms:modified>
</cp:coreProperties>
</file>